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2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32" d="100"/>
          <a:sy n="32" d="100"/>
        </p:scale>
        <p:origin x="1262" y="38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N°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N°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3076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02984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9724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584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49342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83382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03342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1586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53551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94181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285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3 April 2018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3217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09217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502654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3. April 2018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N°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17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4289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9834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8584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936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1979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99820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639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3 April 2018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5"/>
    </p:custDataLst>
    <p:extLst>
      <p:ext uri="{BB962C8B-B14F-4D97-AF65-F5344CB8AC3E}">
        <p14:creationId xmlns:p14="http://schemas.microsoft.com/office/powerpoint/2010/main" val="10121590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4">
            <a:extLst>
              <a:ext uri="{FF2B5EF4-FFF2-40B4-BE49-F238E27FC236}">
                <a16:creationId xmlns:a16="http://schemas.microsoft.com/office/drawing/2014/main" id="{190B27AB-BCEF-4956-8AE5-BCA3BBBC0D28}"/>
              </a:ext>
            </a:extLst>
          </p:cNvPr>
          <p:cNvSpPr>
            <a:spLocks/>
          </p:cNvSpPr>
          <p:nvPr/>
        </p:nvSpPr>
        <p:spPr>
          <a:xfrm>
            <a:off x="5505485" y="2471501"/>
            <a:ext cx="4029827" cy="382204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Este sistema é composto por: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Um desumidificador autoportante.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Entrada de ar na parte superior, com sistema de filtração G4.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Resfriamento por trocador de calor.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Coleta de condensados.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Resfriamento por água.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Ventilador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Saída na parte inferior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Painel elétrico</a:t>
            </a:r>
          </a:p>
          <a:p>
            <a:pPr marL="654092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8" y="423836"/>
            <a:ext cx="8281413" cy="1018014"/>
          </a:xfrm>
        </p:spPr>
        <p:txBody>
          <a:bodyPr/>
          <a:lstStyle/>
          <a:p>
            <a:r>
              <a:rPr lang="en-US" altLang="zh-CN" dirty="0">
                <a:solidFill>
                  <a:srgbClr val="E64B00"/>
                </a:solidFill>
              </a:rPr>
              <a:t>Redução da taxa de umidade no habitáculo da sopradora</a:t>
            </a:r>
            <a:endParaRPr lang="pt-BR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75068"/>
            <a:ext cx="7833296" cy="329998"/>
          </a:xfrm>
        </p:spPr>
        <p:txBody>
          <a:bodyPr/>
          <a:lstStyle/>
          <a:p>
            <a:r>
              <a:rPr lang="fr-FR" dirty="0">
                <a:sym typeface="Wingdings" panose="05000000000000000000" pitchFamily="2" charset="2"/>
              </a:rPr>
              <a:t>Desumidificador</a:t>
            </a:r>
            <a:endParaRPr lang="pt-B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8" y="2471501"/>
            <a:ext cx="4084114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Redução da taxa de umidade no habitáculo da sopradora</a:t>
            </a: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sz="1323" b="0" kern="0" dirty="0">
                <a:solidFill>
                  <a:srgbClr val="000000"/>
                </a:solidFill>
                <a:latin typeface="Arial"/>
              </a:rPr>
              <a:t>Ponto de orvalho ideal: temperatura do molde (+/- 2 ºC) em menos de uma hora.</a:t>
            </a: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Recomendado para países com clima mais úmido. </a:t>
            </a:r>
            <a:endParaRPr lang="pt-BR" altLang="zh-CN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3255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Otimização de custos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amento: sopradora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o catálogo: 2039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A1C342CA-0689-4843-8754-C30961F162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7" r="2595"/>
          <a:stretch/>
        </p:blipFill>
        <p:spPr>
          <a:xfrm>
            <a:off x="7410897" y="5132238"/>
            <a:ext cx="2070883" cy="1122531"/>
          </a:xfrm>
          <a:prstGeom prst="rect">
            <a:avLst/>
          </a:prstGeom>
        </p:spPr>
      </p:pic>
      <p:sp>
        <p:nvSpPr>
          <p:cNvPr id="10" name="Rechteck 3">
            <a:extLst>
              <a:ext uri="{FF2B5EF4-FFF2-40B4-BE49-F238E27FC236}">
                <a16:creationId xmlns:a16="http://schemas.microsoft.com/office/drawing/2014/main" id="{E3F0D3C9-EFC2-4F01-8D1E-20057F178BE9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1" name="Rechteck 11">
            <a:extLst>
              <a:ext uri="{FF2B5EF4-FFF2-40B4-BE49-F238E27FC236}">
                <a16:creationId xmlns:a16="http://schemas.microsoft.com/office/drawing/2014/main" id="{363B2EA6-8E13-4D24-8498-83699281EA0E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333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1</Pages>
  <Words>107</Words>
  <Application>Microsoft Office PowerPoint</Application>
  <PresentationFormat>Personnalisé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Arial</vt:lpstr>
      <vt:lpstr>Book Antiqua</vt:lpstr>
      <vt:lpstr>Wingdings</vt:lpstr>
      <vt:lpstr>NewSidel_Template_4x3_with add layouts</vt:lpstr>
      <vt:lpstr>think-cell Folie</vt:lpstr>
      <vt:lpstr>Redução da taxa de umidade no habitáculo da sopradora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2</cp:revision>
  <cp:lastPrinted>2016-08-02T08:13:06Z</cp:lastPrinted>
  <dcterms:created xsi:type="dcterms:W3CDTF">2009-07-10T13:59:45Z</dcterms:created>
  <dcterms:modified xsi:type="dcterms:W3CDTF">2018-04-04T14:4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SetBy">
    <vt:lpwstr>107200@sidel.com</vt:lpwstr>
  </property>
  <property fmtid="{D5CDD505-2E9C-101B-9397-08002B2CF9AE}" pid="6" name="MSIP_Label_e35bb0a3-90cf-41a8-939e-500b35438edf_SetDate">
    <vt:lpwstr>2018-04-04T16:46:59.7290524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SetBy">
    <vt:lpwstr>107200@sidel.com</vt:lpwstr>
  </property>
  <property fmtid="{D5CDD505-2E9C-101B-9397-08002B2CF9AE}" pid="14" name="MSIP_Label_06263584-a2fa-494a-b6ac-a3eeadb86bd0_SetDate">
    <vt:lpwstr>2018-04-04T16:46:59.7290524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